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comments/modernComment_7FE4E04C_373A954C.xml" ContentType="application/vnd.ms-powerpoint.comments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35"/>
  </p:notesMasterIdLst>
  <p:handoutMasterIdLst>
    <p:handoutMasterId r:id="rId36"/>
  </p:handoutMasterIdLst>
  <p:sldIdLst>
    <p:sldId id="321" r:id="rId5"/>
    <p:sldId id="2145705986" r:id="rId6"/>
    <p:sldId id="2145706062" r:id="rId7"/>
    <p:sldId id="2145705826" r:id="rId8"/>
    <p:sldId id="2145706061" r:id="rId9"/>
    <p:sldId id="2145706060" r:id="rId10"/>
    <p:sldId id="2145706162" r:id="rId11"/>
    <p:sldId id="2145706147" r:id="rId12"/>
    <p:sldId id="2145706148" r:id="rId13"/>
    <p:sldId id="2145706065" r:id="rId14"/>
    <p:sldId id="2145706132" r:id="rId15"/>
    <p:sldId id="2145706170" r:id="rId16"/>
    <p:sldId id="2145706169" r:id="rId17"/>
    <p:sldId id="2145706160" r:id="rId18"/>
    <p:sldId id="2145706144" r:id="rId19"/>
    <p:sldId id="2145706171" r:id="rId20"/>
    <p:sldId id="2145706127" r:id="rId21"/>
    <p:sldId id="2145706156" r:id="rId22"/>
    <p:sldId id="2145706163" r:id="rId23"/>
    <p:sldId id="2145706158" r:id="rId24"/>
    <p:sldId id="2145706151" r:id="rId25"/>
    <p:sldId id="2145706161" r:id="rId26"/>
    <p:sldId id="2145706153" r:id="rId27"/>
    <p:sldId id="2145706165" r:id="rId28"/>
    <p:sldId id="2145706083" r:id="rId29"/>
    <p:sldId id="2145706084" r:id="rId30"/>
    <p:sldId id="2145706087" r:id="rId31"/>
    <p:sldId id="2145706121" r:id="rId32"/>
    <p:sldId id="2145706118" r:id="rId33"/>
    <p:sldId id="2145705823" r:id="rId34"/>
  </p:sldIdLst>
  <p:sldSz cx="12192000" cy="6858000"/>
  <p:notesSz cx="6858000" cy="9144000"/>
  <p:custDataLst>
    <p:tags r:id="rId3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222A46-B838-8ED3-F9A7-3800A48EFE92}" name="Nhi Le" initials="NL" userId="11d13cbe7f05dfa3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623" autoAdjust="0"/>
    <p:restoredTop sz="94660"/>
  </p:normalViewPr>
  <p:slideViewPr>
    <p:cSldViewPr snapToGrid="0">
      <p:cViewPr varScale="1">
        <p:scale>
          <a:sx n="67" d="100"/>
          <a:sy n="67" d="100"/>
        </p:scale>
        <p:origin x="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43" Type="http://schemas.microsoft.com/office/2018/10/relationships/authors" Target="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hi Le" userId="11d13cbe7f05dfa3" providerId="LiveId" clId="{756CDBB5-013E-4E8D-8C49-16D992B69CEF}"/>
    <pc:docChg chg="undo custSel addSld delSld modSld sldOrd">
      <pc:chgData name="Nhi Le" userId="11d13cbe7f05dfa3" providerId="LiveId" clId="{756CDBB5-013E-4E8D-8C49-16D992B69CEF}" dt="2024-06-24T10:41:39.039" v="649" actId="1076"/>
      <pc:docMkLst>
        <pc:docMk/>
      </pc:docMkLst>
      <pc:sldChg chg="addSp delSp modSp mod">
        <pc:chgData name="Nhi Le" userId="11d13cbe7f05dfa3" providerId="LiveId" clId="{756CDBB5-013E-4E8D-8C49-16D992B69CEF}" dt="2024-06-24T10:11:25.037" v="570" actId="255"/>
        <pc:sldMkLst>
          <pc:docMk/>
          <pc:sldMk cId="3829720957" sldId="2145706065"/>
        </pc:sldMkLst>
        <pc:spChg chg="mod">
          <ac:chgData name="Nhi Le" userId="11d13cbe7f05dfa3" providerId="LiveId" clId="{756CDBB5-013E-4E8D-8C49-16D992B69CEF}" dt="2024-06-24T10:11:25.037" v="570" actId="255"/>
          <ac:spMkLst>
            <pc:docMk/>
            <pc:sldMk cId="3829720957" sldId="2145706065"/>
            <ac:spMk id="8" creationId="{4AD147CD-FC6B-A993-2C1F-FE2EDB13A0FB}"/>
          </ac:spMkLst>
        </pc:spChg>
        <pc:picChg chg="del mod">
          <ac:chgData name="Nhi Le" userId="11d13cbe7f05dfa3" providerId="LiveId" clId="{756CDBB5-013E-4E8D-8C49-16D992B69CEF}" dt="2024-06-24T09:57:21.760" v="430" actId="478"/>
          <ac:picMkLst>
            <pc:docMk/>
            <pc:sldMk cId="3829720957" sldId="2145706065"/>
            <ac:picMk id="3" creationId="{393CB585-FA62-65E0-2C5F-ADD06B0C7516}"/>
          </ac:picMkLst>
        </pc:picChg>
        <pc:picChg chg="add mod modCrop">
          <ac:chgData name="Nhi Le" userId="11d13cbe7f05dfa3" providerId="LiveId" clId="{756CDBB5-013E-4E8D-8C49-16D992B69CEF}" dt="2024-06-24T09:57:42.690" v="436" actId="1076"/>
          <ac:picMkLst>
            <pc:docMk/>
            <pc:sldMk cId="3829720957" sldId="2145706065"/>
            <ac:picMk id="4" creationId="{DB99A6EC-889F-C17B-1BCD-307A14FB53E9}"/>
          </ac:picMkLst>
        </pc:picChg>
      </pc:sldChg>
      <pc:sldChg chg="modSp mod ord">
        <pc:chgData name="Nhi Le" userId="11d13cbe7f05dfa3" providerId="LiveId" clId="{756CDBB5-013E-4E8D-8C49-16D992B69CEF}" dt="2024-06-24T10:22:30.984" v="625" actId="14826"/>
        <pc:sldMkLst>
          <pc:docMk/>
          <pc:sldMk cId="521254171" sldId="2145706127"/>
        </pc:sldMkLst>
        <pc:picChg chg="mod ord">
          <ac:chgData name="Nhi Le" userId="11d13cbe7f05dfa3" providerId="LiveId" clId="{756CDBB5-013E-4E8D-8C49-16D992B69CEF}" dt="2024-06-24T10:22:30.984" v="625" actId="14826"/>
          <ac:picMkLst>
            <pc:docMk/>
            <pc:sldMk cId="521254171" sldId="2145706127"/>
            <ac:picMk id="9" creationId="{D664B4C9-452B-B6A9-F92B-B86A1952A820}"/>
          </ac:picMkLst>
        </pc:picChg>
      </pc:sldChg>
      <pc:sldChg chg="addSp delSp modSp mod">
        <pc:chgData name="Nhi Le" userId="11d13cbe7f05dfa3" providerId="LiveId" clId="{756CDBB5-013E-4E8D-8C49-16D992B69CEF}" dt="2024-06-24T10:11:18.537" v="568" actId="255"/>
        <pc:sldMkLst>
          <pc:docMk/>
          <pc:sldMk cId="1952036995" sldId="2145706132"/>
        </pc:sldMkLst>
        <pc:spChg chg="mod">
          <ac:chgData name="Nhi Le" userId="11d13cbe7f05dfa3" providerId="LiveId" clId="{756CDBB5-013E-4E8D-8C49-16D992B69CEF}" dt="2024-06-24T10:11:18.537" v="568" actId="255"/>
          <ac:spMkLst>
            <pc:docMk/>
            <pc:sldMk cId="1952036995" sldId="2145706132"/>
            <ac:spMk id="8" creationId="{4AD147CD-FC6B-A993-2C1F-FE2EDB13A0FB}"/>
          </ac:spMkLst>
        </pc:spChg>
        <pc:picChg chg="add mod modCrop">
          <ac:chgData name="Nhi Le" userId="11d13cbe7f05dfa3" providerId="LiveId" clId="{756CDBB5-013E-4E8D-8C49-16D992B69CEF}" dt="2024-06-24T10:06:18.828" v="447" actId="1076"/>
          <ac:picMkLst>
            <pc:docMk/>
            <pc:sldMk cId="1952036995" sldId="2145706132"/>
            <ac:picMk id="3" creationId="{9A35BF79-8AED-BB46-8DE8-10C42821C684}"/>
          </ac:picMkLst>
        </pc:picChg>
        <pc:picChg chg="del mod">
          <ac:chgData name="Nhi Le" userId="11d13cbe7f05dfa3" providerId="LiveId" clId="{756CDBB5-013E-4E8D-8C49-16D992B69CEF}" dt="2024-06-24T10:05:42.553" v="438" actId="478"/>
          <ac:picMkLst>
            <pc:docMk/>
            <pc:sldMk cId="1952036995" sldId="2145706132"/>
            <ac:picMk id="7" creationId="{B3F86685-1355-3296-BE23-BBF0D3EAF42E}"/>
          </ac:picMkLst>
        </pc:picChg>
      </pc:sldChg>
      <pc:sldChg chg="modSp mod">
        <pc:chgData name="Nhi Le" userId="11d13cbe7f05dfa3" providerId="LiveId" clId="{756CDBB5-013E-4E8D-8C49-16D992B69CEF}" dt="2024-06-24T10:10:55.245" v="566" actId="255"/>
        <pc:sldMkLst>
          <pc:docMk/>
          <pc:sldMk cId="967897051" sldId="2145706144"/>
        </pc:sldMkLst>
        <pc:spChg chg="mod">
          <ac:chgData name="Nhi Le" userId="11d13cbe7f05dfa3" providerId="LiveId" clId="{756CDBB5-013E-4E8D-8C49-16D992B69CEF}" dt="2024-06-24T10:10:55.245" v="566" actId="255"/>
          <ac:spMkLst>
            <pc:docMk/>
            <pc:sldMk cId="967897051" sldId="2145706144"/>
            <ac:spMk id="8" creationId="{4AD147CD-FC6B-A993-2C1F-FE2EDB13A0FB}"/>
          </ac:spMkLst>
        </pc:spChg>
        <pc:picChg chg="mod ord">
          <ac:chgData name="Nhi Le" userId="11d13cbe7f05dfa3" providerId="LiveId" clId="{756CDBB5-013E-4E8D-8C49-16D992B69CEF}" dt="2024-06-24T10:10:39.417" v="533" actId="1076"/>
          <ac:picMkLst>
            <pc:docMk/>
            <pc:sldMk cId="967897051" sldId="2145706144"/>
            <ac:picMk id="3" creationId="{84E4B33A-8908-A566-5EE5-4D9AD735B0CA}"/>
          </ac:picMkLst>
        </pc:picChg>
      </pc:sldChg>
      <pc:sldChg chg="modSp mod ord">
        <pc:chgData name="Nhi Le" userId="11d13cbe7f05dfa3" providerId="LiveId" clId="{756CDBB5-013E-4E8D-8C49-16D992B69CEF}" dt="2024-06-24T10:12:52.051" v="616" actId="1076"/>
        <pc:sldMkLst>
          <pc:docMk/>
          <pc:sldMk cId="3904458061" sldId="2145706147"/>
        </pc:sldMkLst>
        <pc:picChg chg="mod">
          <ac:chgData name="Nhi Le" userId="11d13cbe7f05dfa3" providerId="LiveId" clId="{756CDBB5-013E-4E8D-8C49-16D992B69CEF}" dt="2024-06-24T10:12:52.051" v="616" actId="1076"/>
          <ac:picMkLst>
            <pc:docMk/>
            <pc:sldMk cId="3904458061" sldId="2145706147"/>
            <ac:picMk id="3" creationId="{B9664919-BB93-AF4D-DAD6-F52ADB06426D}"/>
          </ac:picMkLst>
        </pc:picChg>
      </pc:sldChg>
      <pc:sldChg chg="ord">
        <pc:chgData name="Nhi Le" userId="11d13cbe7f05dfa3" providerId="LiveId" clId="{756CDBB5-013E-4E8D-8C49-16D992B69CEF}" dt="2024-06-24T10:12:32.007" v="614"/>
        <pc:sldMkLst>
          <pc:docMk/>
          <pc:sldMk cId="3849206297" sldId="2145706148"/>
        </pc:sldMkLst>
      </pc:sldChg>
      <pc:sldChg chg="del">
        <pc:chgData name="Nhi Le" userId="11d13cbe7f05dfa3" providerId="LiveId" clId="{756CDBB5-013E-4E8D-8C49-16D992B69CEF}" dt="2024-06-24T10:15:44.767" v="620" actId="47"/>
        <pc:sldMkLst>
          <pc:docMk/>
          <pc:sldMk cId="3651515131" sldId="2145706149"/>
        </pc:sldMkLst>
      </pc:sldChg>
      <pc:sldChg chg="addSp delSp modSp mod">
        <pc:chgData name="Nhi Le" userId="11d13cbe7f05dfa3" providerId="LiveId" clId="{756CDBB5-013E-4E8D-8C49-16D992B69CEF}" dt="2024-06-24T10:23:50.718" v="628" actId="14826"/>
        <pc:sldMkLst>
          <pc:docMk/>
          <pc:sldMk cId="1596506913" sldId="2145706151"/>
        </pc:sldMkLst>
        <pc:picChg chg="add mod">
          <ac:chgData name="Nhi Le" userId="11d13cbe7f05dfa3" providerId="LiveId" clId="{756CDBB5-013E-4E8D-8C49-16D992B69CEF}" dt="2024-06-24T10:23:50.718" v="628" actId="14826"/>
          <ac:picMkLst>
            <pc:docMk/>
            <pc:sldMk cId="1596506913" sldId="2145706151"/>
            <ac:picMk id="3" creationId="{C417618A-0ED4-E0BC-AE48-927A2AB8A158}"/>
          </ac:picMkLst>
        </pc:picChg>
        <pc:picChg chg="del mod">
          <ac:chgData name="Nhi Le" userId="11d13cbe7f05dfa3" providerId="LiveId" clId="{756CDBB5-013E-4E8D-8C49-16D992B69CEF}" dt="2024-06-20T07:42:09.012" v="26" actId="478"/>
          <ac:picMkLst>
            <pc:docMk/>
            <pc:sldMk cId="1596506913" sldId="2145706151"/>
            <ac:picMk id="6" creationId="{D98DE573-48B7-4610-808B-4E3DA962E04E}"/>
          </ac:picMkLst>
        </pc:picChg>
      </pc:sldChg>
      <pc:sldChg chg="del">
        <pc:chgData name="Nhi Le" userId="11d13cbe7f05dfa3" providerId="LiveId" clId="{756CDBB5-013E-4E8D-8C49-16D992B69CEF}" dt="2024-06-20T09:26:58.361" v="71" actId="47"/>
        <pc:sldMkLst>
          <pc:docMk/>
          <pc:sldMk cId="4129124076" sldId="2145706152"/>
        </pc:sldMkLst>
      </pc:sldChg>
      <pc:sldChg chg="modSp mod">
        <pc:chgData name="Nhi Le" userId="11d13cbe7f05dfa3" providerId="LiveId" clId="{756CDBB5-013E-4E8D-8C49-16D992B69CEF}" dt="2024-06-24T10:27:43.579" v="631" actId="14826"/>
        <pc:sldMkLst>
          <pc:docMk/>
          <pc:sldMk cId="93589670" sldId="2145706153"/>
        </pc:sldMkLst>
        <pc:spChg chg="mod">
          <ac:chgData name="Nhi Le" userId="11d13cbe7f05dfa3" providerId="LiveId" clId="{756CDBB5-013E-4E8D-8C49-16D992B69CEF}" dt="2024-06-20T09:31:35.729" v="300" actId="20577"/>
          <ac:spMkLst>
            <pc:docMk/>
            <pc:sldMk cId="93589670" sldId="2145706153"/>
            <ac:spMk id="8" creationId="{4AD147CD-FC6B-A993-2C1F-FE2EDB13A0FB}"/>
          </ac:spMkLst>
        </pc:spChg>
        <pc:picChg chg="mod">
          <ac:chgData name="Nhi Le" userId="11d13cbe7f05dfa3" providerId="LiveId" clId="{756CDBB5-013E-4E8D-8C49-16D992B69CEF}" dt="2024-06-24T10:27:43.579" v="631" actId="14826"/>
          <ac:picMkLst>
            <pc:docMk/>
            <pc:sldMk cId="93589670" sldId="2145706153"/>
            <ac:picMk id="3" creationId="{8BB32583-E2FA-4DD1-6489-A4D8262528A8}"/>
          </ac:picMkLst>
        </pc:picChg>
      </pc:sldChg>
      <pc:sldChg chg="modSp del mod">
        <pc:chgData name="Nhi Le" userId="11d13cbe7f05dfa3" providerId="LiveId" clId="{756CDBB5-013E-4E8D-8C49-16D992B69CEF}" dt="2024-06-20T09:31:45.521" v="318" actId="47"/>
        <pc:sldMkLst>
          <pc:docMk/>
          <pc:sldMk cId="2894039369" sldId="2145706154"/>
        </pc:sldMkLst>
        <pc:spChg chg="mod">
          <ac:chgData name="Nhi Le" userId="11d13cbe7f05dfa3" providerId="LiveId" clId="{756CDBB5-013E-4E8D-8C49-16D992B69CEF}" dt="2024-06-20T09:31:43.248" v="317" actId="20577"/>
          <ac:spMkLst>
            <pc:docMk/>
            <pc:sldMk cId="2894039369" sldId="2145706154"/>
            <ac:spMk id="8" creationId="{4AD147CD-FC6B-A993-2C1F-FE2EDB13A0FB}"/>
          </ac:spMkLst>
        </pc:spChg>
      </pc:sldChg>
      <pc:sldChg chg="modSp mod">
        <pc:chgData name="Nhi Le" userId="11d13cbe7f05dfa3" providerId="LiveId" clId="{756CDBB5-013E-4E8D-8C49-16D992B69CEF}" dt="2024-06-24T10:20:28.450" v="623" actId="14100"/>
        <pc:sldMkLst>
          <pc:docMk/>
          <pc:sldMk cId="885405826" sldId="2145706156"/>
        </pc:sldMkLst>
        <pc:picChg chg="mod">
          <ac:chgData name="Nhi Le" userId="11d13cbe7f05dfa3" providerId="LiveId" clId="{756CDBB5-013E-4E8D-8C49-16D992B69CEF}" dt="2024-06-24T10:20:28.450" v="623" actId="14100"/>
          <ac:picMkLst>
            <pc:docMk/>
            <pc:sldMk cId="885405826" sldId="2145706156"/>
            <ac:picMk id="3" creationId="{7DDEA7FF-44CC-9727-6E6B-20D0563CA442}"/>
          </ac:picMkLst>
        </pc:picChg>
      </pc:sldChg>
      <pc:sldChg chg="addSp delSp modSp del mod ord">
        <pc:chgData name="Nhi Le" userId="11d13cbe7f05dfa3" providerId="LiveId" clId="{756CDBB5-013E-4E8D-8C49-16D992B69CEF}" dt="2024-06-24T10:15:36.673" v="619" actId="47"/>
        <pc:sldMkLst>
          <pc:docMk/>
          <pc:sldMk cId="3330639685" sldId="2145706157"/>
        </pc:sldMkLst>
        <pc:picChg chg="add del mod">
          <ac:chgData name="Nhi Le" userId="11d13cbe7f05dfa3" providerId="LiveId" clId="{756CDBB5-013E-4E8D-8C49-16D992B69CEF}" dt="2024-06-20T09:23:13.746" v="65" actId="478"/>
          <ac:picMkLst>
            <pc:docMk/>
            <pc:sldMk cId="3330639685" sldId="2145706157"/>
            <ac:picMk id="3" creationId="{5A791BC9-3AF3-B7C5-1DB3-5D3F94A020F4}"/>
          </ac:picMkLst>
        </pc:picChg>
        <pc:picChg chg="add mod">
          <ac:chgData name="Nhi Le" userId="11d13cbe7f05dfa3" providerId="LiveId" clId="{756CDBB5-013E-4E8D-8C49-16D992B69CEF}" dt="2024-06-20T09:56:25.220" v="324" actId="1076"/>
          <ac:picMkLst>
            <pc:docMk/>
            <pc:sldMk cId="3330639685" sldId="2145706157"/>
            <ac:picMk id="5" creationId="{70CE2D36-7357-104B-FBC7-98581D89FECC}"/>
          </ac:picMkLst>
        </pc:picChg>
        <pc:picChg chg="del">
          <ac:chgData name="Nhi Le" userId="11d13cbe7f05dfa3" providerId="LiveId" clId="{756CDBB5-013E-4E8D-8C49-16D992B69CEF}" dt="2024-06-20T09:23:06.163" v="61" actId="478"/>
          <ac:picMkLst>
            <pc:docMk/>
            <pc:sldMk cId="3330639685" sldId="2145706157"/>
            <ac:picMk id="10" creationId="{738AE7E6-E43D-5B1C-9F5B-EBAB8A1E5D7B}"/>
          </ac:picMkLst>
        </pc:picChg>
      </pc:sldChg>
      <pc:sldChg chg="modSp mod">
        <pc:chgData name="Nhi Le" userId="11d13cbe7f05dfa3" providerId="LiveId" clId="{756CDBB5-013E-4E8D-8C49-16D992B69CEF}" dt="2024-06-24T10:23:19.884" v="626" actId="14826"/>
        <pc:sldMkLst>
          <pc:docMk/>
          <pc:sldMk cId="2947958308" sldId="2145706158"/>
        </pc:sldMkLst>
        <pc:picChg chg="mod">
          <ac:chgData name="Nhi Le" userId="11d13cbe7f05dfa3" providerId="LiveId" clId="{756CDBB5-013E-4E8D-8C49-16D992B69CEF}" dt="2024-06-24T10:23:19.884" v="626" actId="14826"/>
          <ac:picMkLst>
            <pc:docMk/>
            <pc:sldMk cId="2947958308" sldId="2145706158"/>
            <ac:picMk id="3" creationId="{CF4512DA-0C05-2645-9D64-6C05FB07F34F}"/>
          </ac:picMkLst>
        </pc:picChg>
      </pc:sldChg>
      <pc:sldChg chg="modSp mod">
        <pc:chgData name="Nhi Le" userId="11d13cbe7f05dfa3" providerId="LiveId" clId="{756CDBB5-013E-4E8D-8C49-16D992B69CEF}" dt="2024-06-24T10:11:41.372" v="609" actId="20577"/>
        <pc:sldMkLst>
          <pc:docMk/>
          <pc:sldMk cId="986663092" sldId="2145706160"/>
        </pc:sldMkLst>
        <pc:spChg chg="mod">
          <ac:chgData name="Nhi Le" userId="11d13cbe7f05dfa3" providerId="LiveId" clId="{756CDBB5-013E-4E8D-8C49-16D992B69CEF}" dt="2024-06-24T10:11:41.372" v="609" actId="20577"/>
          <ac:spMkLst>
            <pc:docMk/>
            <pc:sldMk cId="986663092" sldId="2145706160"/>
            <ac:spMk id="8" creationId="{4AD147CD-FC6B-A993-2C1F-FE2EDB13A0FB}"/>
          </ac:spMkLst>
        </pc:spChg>
        <pc:picChg chg="mod">
          <ac:chgData name="Nhi Le" userId="11d13cbe7f05dfa3" providerId="LiveId" clId="{756CDBB5-013E-4E8D-8C49-16D992B69CEF}" dt="2024-06-24T09:45:07.305" v="402" actId="1076"/>
          <ac:picMkLst>
            <pc:docMk/>
            <pc:sldMk cId="986663092" sldId="2145706160"/>
            <ac:picMk id="5" creationId="{4FA7C9A4-53A3-841C-1131-AD3EA73FF2E3}"/>
          </ac:picMkLst>
        </pc:picChg>
      </pc:sldChg>
      <pc:sldChg chg="modSp add">
        <pc:chgData name="Nhi Le" userId="11d13cbe7f05dfa3" providerId="LiveId" clId="{756CDBB5-013E-4E8D-8C49-16D992B69CEF}" dt="2024-06-24T10:25:19.900" v="629" actId="14826"/>
        <pc:sldMkLst>
          <pc:docMk/>
          <pc:sldMk cId="3844398377" sldId="2145706161"/>
        </pc:sldMkLst>
        <pc:picChg chg="mod">
          <ac:chgData name="Nhi Le" userId="11d13cbe7f05dfa3" providerId="LiveId" clId="{756CDBB5-013E-4E8D-8C49-16D992B69CEF}" dt="2024-06-24T10:25:19.900" v="629" actId="14826"/>
          <ac:picMkLst>
            <pc:docMk/>
            <pc:sldMk cId="3844398377" sldId="2145706161"/>
            <ac:picMk id="3" creationId="{C417618A-0ED4-E0BC-AE48-927A2AB8A158}"/>
          </ac:picMkLst>
        </pc:picChg>
      </pc:sldChg>
      <pc:sldChg chg="modSp add mod ord">
        <pc:chgData name="Nhi Le" userId="11d13cbe7f05dfa3" providerId="LiveId" clId="{756CDBB5-013E-4E8D-8C49-16D992B69CEF}" dt="2024-06-20T09:30:31.427" v="208" actId="20577"/>
        <pc:sldMkLst>
          <pc:docMk/>
          <pc:sldMk cId="18538559" sldId="2145706162"/>
        </pc:sldMkLst>
        <pc:spChg chg="mod">
          <ac:chgData name="Nhi Le" userId="11d13cbe7f05dfa3" providerId="LiveId" clId="{756CDBB5-013E-4E8D-8C49-16D992B69CEF}" dt="2024-06-20T09:28:27.828" v="111" actId="20577"/>
          <ac:spMkLst>
            <pc:docMk/>
            <pc:sldMk cId="18538559" sldId="2145706162"/>
            <ac:spMk id="4" creationId="{783E0025-3EB6-8A32-504E-6433F1207F9F}"/>
          </ac:spMkLst>
        </pc:spChg>
        <pc:spChg chg="mod">
          <ac:chgData name="Nhi Le" userId="11d13cbe7f05dfa3" providerId="LiveId" clId="{756CDBB5-013E-4E8D-8C49-16D992B69CEF}" dt="2024-06-20T09:30:31.427" v="208" actId="20577"/>
          <ac:spMkLst>
            <pc:docMk/>
            <pc:sldMk cId="18538559" sldId="2145706162"/>
            <ac:spMk id="23" creationId="{6A1D1FF9-CAD7-2AAE-1CC6-BD9691BDC86E}"/>
          </ac:spMkLst>
        </pc:spChg>
      </pc:sldChg>
      <pc:sldChg chg="modSp add mod ord">
        <pc:chgData name="Nhi Le" userId="11d13cbe7f05dfa3" providerId="LiveId" clId="{756CDBB5-013E-4E8D-8C49-16D992B69CEF}" dt="2024-06-20T09:31:21.256" v="260" actId="20577"/>
        <pc:sldMkLst>
          <pc:docMk/>
          <pc:sldMk cId="1582835564" sldId="2145706163"/>
        </pc:sldMkLst>
        <pc:spChg chg="mod">
          <ac:chgData name="Nhi Le" userId="11d13cbe7f05dfa3" providerId="LiveId" clId="{756CDBB5-013E-4E8D-8C49-16D992B69CEF}" dt="2024-06-20T09:30:45.097" v="217" actId="20577"/>
          <ac:spMkLst>
            <pc:docMk/>
            <pc:sldMk cId="1582835564" sldId="2145706163"/>
            <ac:spMk id="4" creationId="{783E0025-3EB6-8A32-504E-6433F1207F9F}"/>
          </ac:spMkLst>
        </pc:spChg>
        <pc:spChg chg="mod">
          <ac:chgData name="Nhi Le" userId="11d13cbe7f05dfa3" providerId="LiveId" clId="{756CDBB5-013E-4E8D-8C49-16D992B69CEF}" dt="2024-06-20T09:31:21.256" v="260" actId="20577"/>
          <ac:spMkLst>
            <pc:docMk/>
            <pc:sldMk cId="1582835564" sldId="2145706163"/>
            <ac:spMk id="23" creationId="{6A1D1FF9-CAD7-2AAE-1CC6-BD9691BDC86E}"/>
          </ac:spMkLst>
        </pc:spChg>
      </pc:sldChg>
      <pc:sldChg chg="addSp delSp modSp add del mod">
        <pc:chgData name="Nhi Le" userId="11d13cbe7f05dfa3" providerId="LiveId" clId="{756CDBB5-013E-4E8D-8C49-16D992B69CEF}" dt="2024-06-24T10:25:35.661" v="630" actId="47"/>
        <pc:sldMkLst>
          <pc:docMk/>
          <pc:sldMk cId="841544745" sldId="2145706164"/>
        </pc:sldMkLst>
        <pc:spChg chg="mod">
          <ac:chgData name="Nhi Le" userId="11d13cbe7f05dfa3" providerId="LiveId" clId="{756CDBB5-013E-4E8D-8C49-16D992B69CEF}" dt="2024-06-20T10:01:01.038" v="358" actId="20577"/>
          <ac:spMkLst>
            <pc:docMk/>
            <pc:sldMk cId="841544745" sldId="2145706164"/>
            <ac:spMk id="8" creationId="{4AD147CD-FC6B-A993-2C1F-FE2EDB13A0FB}"/>
          </ac:spMkLst>
        </pc:spChg>
        <pc:picChg chg="del">
          <ac:chgData name="Nhi Le" userId="11d13cbe7f05dfa3" providerId="LiveId" clId="{756CDBB5-013E-4E8D-8C49-16D992B69CEF}" dt="2024-06-20T10:00:44.758" v="326" actId="478"/>
          <ac:picMkLst>
            <pc:docMk/>
            <pc:sldMk cId="841544745" sldId="2145706164"/>
            <ac:picMk id="3" creationId="{C417618A-0ED4-E0BC-AE48-927A2AB8A158}"/>
          </ac:picMkLst>
        </pc:picChg>
        <pc:picChg chg="add mod">
          <ac:chgData name="Nhi Le" userId="11d13cbe7f05dfa3" providerId="LiveId" clId="{756CDBB5-013E-4E8D-8C49-16D992B69CEF}" dt="2024-06-20T10:28:54.418" v="367" actId="1076"/>
          <ac:picMkLst>
            <pc:docMk/>
            <pc:sldMk cId="841544745" sldId="2145706164"/>
            <ac:picMk id="4" creationId="{0D0758A4-4473-C868-4812-03BE91896B27}"/>
          </ac:picMkLst>
        </pc:picChg>
      </pc:sldChg>
      <pc:sldChg chg="modSp add mod">
        <pc:chgData name="Nhi Le" userId="11d13cbe7f05dfa3" providerId="LiveId" clId="{756CDBB5-013E-4E8D-8C49-16D992B69CEF}" dt="2024-06-24T10:31:59.579" v="636" actId="1076"/>
        <pc:sldMkLst>
          <pc:docMk/>
          <pc:sldMk cId="2947640607" sldId="2145706165"/>
        </pc:sldMkLst>
        <pc:picChg chg="mod">
          <ac:chgData name="Nhi Le" userId="11d13cbe7f05dfa3" providerId="LiveId" clId="{756CDBB5-013E-4E8D-8C49-16D992B69CEF}" dt="2024-06-24T10:31:59.579" v="636" actId="1076"/>
          <ac:picMkLst>
            <pc:docMk/>
            <pc:sldMk cId="2947640607" sldId="2145706165"/>
            <ac:picMk id="3" creationId="{8BB32583-E2FA-4DD1-6489-A4D8262528A8}"/>
          </ac:picMkLst>
        </pc:picChg>
      </pc:sldChg>
      <pc:sldChg chg="add del ord">
        <pc:chgData name="Nhi Le" userId="11d13cbe7f05dfa3" providerId="LiveId" clId="{756CDBB5-013E-4E8D-8C49-16D992B69CEF}" dt="2024-06-24T10:27:55.550" v="632" actId="47"/>
        <pc:sldMkLst>
          <pc:docMk/>
          <pc:sldMk cId="810861829" sldId="2145706166"/>
        </pc:sldMkLst>
      </pc:sldChg>
      <pc:sldChg chg="modSp add del mod">
        <pc:chgData name="Nhi Le" userId="11d13cbe7f05dfa3" providerId="LiveId" clId="{756CDBB5-013E-4E8D-8C49-16D992B69CEF}" dt="2024-06-24T10:27:57.122" v="633" actId="47"/>
        <pc:sldMkLst>
          <pc:docMk/>
          <pc:sldMk cId="1680195412" sldId="2145706167"/>
        </pc:sldMkLst>
        <pc:spChg chg="mod">
          <ac:chgData name="Nhi Le" userId="11d13cbe7f05dfa3" providerId="LiveId" clId="{756CDBB5-013E-4E8D-8C49-16D992B69CEF}" dt="2024-06-20T10:53:06.363" v="386" actId="20577"/>
          <ac:spMkLst>
            <pc:docMk/>
            <pc:sldMk cId="1680195412" sldId="2145706167"/>
            <ac:spMk id="8" creationId="{4AD147CD-FC6B-A993-2C1F-FE2EDB13A0FB}"/>
          </ac:spMkLst>
        </pc:spChg>
        <pc:picChg chg="mod">
          <ac:chgData name="Nhi Le" userId="11d13cbe7f05dfa3" providerId="LiveId" clId="{756CDBB5-013E-4E8D-8C49-16D992B69CEF}" dt="2024-06-20T10:52:48.516" v="373" actId="14826"/>
          <ac:picMkLst>
            <pc:docMk/>
            <pc:sldMk cId="1680195412" sldId="2145706167"/>
            <ac:picMk id="4" creationId="{0D0758A4-4473-C868-4812-03BE91896B27}"/>
          </ac:picMkLst>
        </pc:picChg>
      </pc:sldChg>
      <pc:sldChg chg="addSp delSp modSp add del mod">
        <pc:chgData name="Nhi Le" userId="11d13cbe7f05dfa3" providerId="LiveId" clId="{756CDBB5-013E-4E8D-8C49-16D992B69CEF}" dt="2024-06-24T10:12:05.103" v="610" actId="47"/>
        <pc:sldMkLst>
          <pc:docMk/>
          <pc:sldMk cId="4236687967" sldId="2145706168"/>
        </pc:sldMkLst>
        <pc:picChg chg="del">
          <ac:chgData name="Nhi Le" userId="11d13cbe7f05dfa3" providerId="LiveId" clId="{756CDBB5-013E-4E8D-8C49-16D992B69CEF}" dt="2024-06-20T10:59:34.271" v="394" actId="478"/>
          <ac:picMkLst>
            <pc:docMk/>
            <pc:sldMk cId="4236687967" sldId="2145706168"/>
            <ac:picMk id="3" creationId="{B9664919-BB93-AF4D-DAD6-F52ADB06426D}"/>
          </ac:picMkLst>
        </pc:picChg>
        <pc:picChg chg="add mod">
          <ac:chgData name="Nhi Le" userId="11d13cbe7f05dfa3" providerId="LiveId" clId="{756CDBB5-013E-4E8D-8C49-16D992B69CEF}" dt="2024-06-20T10:59:46.274" v="399" actId="1076"/>
          <ac:picMkLst>
            <pc:docMk/>
            <pc:sldMk cId="4236687967" sldId="2145706168"/>
            <ac:picMk id="4" creationId="{CA35245F-CC49-D3DE-5898-117ED60E74F0}"/>
          </ac:picMkLst>
        </pc:picChg>
      </pc:sldChg>
      <pc:sldChg chg="addSp delSp modSp add mod">
        <pc:chgData name="Nhi Le" userId="11d13cbe7f05dfa3" providerId="LiveId" clId="{756CDBB5-013E-4E8D-8C49-16D992B69CEF}" dt="2024-06-24T10:09:26.186" v="516" actId="478"/>
        <pc:sldMkLst>
          <pc:docMk/>
          <pc:sldMk cId="2239421144" sldId="2145706169"/>
        </pc:sldMkLst>
        <pc:spChg chg="add del mod">
          <ac:chgData name="Nhi Le" userId="11d13cbe7f05dfa3" providerId="LiveId" clId="{756CDBB5-013E-4E8D-8C49-16D992B69CEF}" dt="2024-06-24T10:09:26.186" v="516" actId="478"/>
          <ac:spMkLst>
            <pc:docMk/>
            <pc:sldMk cId="2239421144" sldId="2145706169"/>
            <ac:spMk id="6" creationId="{0FFE40E9-E356-E93B-5B07-AC7D8380D55B}"/>
          </ac:spMkLst>
        </pc:spChg>
        <pc:spChg chg="add mod">
          <ac:chgData name="Nhi Le" userId="11d13cbe7f05dfa3" providerId="LiveId" clId="{756CDBB5-013E-4E8D-8C49-16D992B69CEF}" dt="2024-06-24T10:09:23.868" v="515"/>
          <ac:spMkLst>
            <pc:docMk/>
            <pc:sldMk cId="2239421144" sldId="2145706169"/>
            <ac:spMk id="7" creationId="{20FC9BF5-72F4-0FE1-A8EC-842B77FD4D4B}"/>
          </ac:spMkLst>
        </pc:spChg>
        <pc:spChg chg="del">
          <ac:chgData name="Nhi Le" userId="11d13cbe7f05dfa3" providerId="LiveId" clId="{756CDBB5-013E-4E8D-8C49-16D992B69CEF}" dt="2024-06-24T10:09:22.831" v="514" actId="478"/>
          <ac:spMkLst>
            <pc:docMk/>
            <pc:sldMk cId="2239421144" sldId="2145706169"/>
            <ac:spMk id="8" creationId="{4AD147CD-FC6B-A993-2C1F-FE2EDB13A0FB}"/>
          </ac:spMkLst>
        </pc:spChg>
        <pc:picChg chg="del mod">
          <ac:chgData name="Nhi Le" userId="11d13cbe7f05dfa3" providerId="LiveId" clId="{756CDBB5-013E-4E8D-8C49-16D992B69CEF}" dt="2024-06-24T10:08:08.450" v="463" actId="478"/>
          <ac:picMkLst>
            <pc:docMk/>
            <pc:sldMk cId="2239421144" sldId="2145706169"/>
            <ac:picMk id="3" creationId="{9A35BF79-8AED-BB46-8DE8-10C42821C684}"/>
          </ac:picMkLst>
        </pc:picChg>
        <pc:picChg chg="add mod modCrop">
          <ac:chgData name="Nhi Le" userId="11d13cbe7f05dfa3" providerId="LiveId" clId="{756CDBB5-013E-4E8D-8C49-16D992B69CEF}" dt="2024-06-24T10:08:30.239" v="471" actId="1076"/>
          <ac:picMkLst>
            <pc:docMk/>
            <pc:sldMk cId="2239421144" sldId="2145706169"/>
            <ac:picMk id="4" creationId="{6CA076C6-15A1-5FE7-741E-49B41B1B73BC}"/>
          </ac:picMkLst>
        </pc:picChg>
      </pc:sldChg>
      <pc:sldChg chg="addSp delSp modSp add mod ord">
        <pc:chgData name="Nhi Le" userId="11d13cbe7f05dfa3" providerId="LiveId" clId="{756CDBB5-013E-4E8D-8C49-16D992B69CEF}" dt="2024-06-24T10:09:12.253" v="513" actId="14100"/>
        <pc:sldMkLst>
          <pc:docMk/>
          <pc:sldMk cId="2287380063" sldId="2145706170"/>
        </pc:sldMkLst>
        <pc:spChg chg="mod">
          <ac:chgData name="Nhi Le" userId="11d13cbe7f05dfa3" providerId="LiveId" clId="{756CDBB5-013E-4E8D-8C49-16D992B69CEF}" dt="2024-06-24T10:09:12.253" v="513" actId="14100"/>
          <ac:spMkLst>
            <pc:docMk/>
            <pc:sldMk cId="2287380063" sldId="2145706170"/>
            <ac:spMk id="8" creationId="{4AD147CD-FC6B-A993-2C1F-FE2EDB13A0FB}"/>
          </ac:spMkLst>
        </pc:spChg>
        <pc:picChg chg="add mod modCrop">
          <ac:chgData name="Nhi Le" userId="11d13cbe7f05dfa3" providerId="LiveId" clId="{756CDBB5-013E-4E8D-8C49-16D992B69CEF}" dt="2024-06-24T10:07:33.726" v="461" actId="1076"/>
          <ac:picMkLst>
            <pc:docMk/>
            <pc:sldMk cId="2287380063" sldId="2145706170"/>
            <ac:picMk id="3" creationId="{83458891-465B-EA85-7C84-D8468C19F8FC}"/>
          </ac:picMkLst>
        </pc:picChg>
        <pc:picChg chg="del mod">
          <ac:chgData name="Nhi Le" userId="11d13cbe7f05dfa3" providerId="LiveId" clId="{756CDBB5-013E-4E8D-8C49-16D992B69CEF}" dt="2024-06-24T10:07:12.607" v="453" actId="478"/>
          <ac:picMkLst>
            <pc:docMk/>
            <pc:sldMk cId="2287380063" sldId="2145706170"/>
            <ac:picMk id="4" creationId="{DB99A6EC-889F-C17B-1BCD-307A14FB53E9}"/>
          </ac:picMkLst>
        </pc:picChg>
      </pc:sldChg>
      <pc:sldChg chg="addSp delSp modSp add mod">
        <pc:chgData name="Nhi Le" userId="11d13cbe7f05dfa3" providerId="LiveId" clId="{756CDBB5-013E-4E8D-8C49-16D992B69CEF}" dt="2024-06-24T10:41:39.039" v="649" actId="1076"/>
        <pc:sldMkLst>
          <pc:docMk/>
          <pc:sldMk cId="1531613168" sldId="2145706171"/>
        </pc:sldMkLst>
        <pc:spChg chg="add del">
          <ac:chgData name="Nhi Le" userId="11d13cbe7f05dfa3" providerId="LiveId" clId="{756CDBB5-013E-4E8D-8C49-16D992B69CEF}" dt="2024-06-24T10:41:16.180" v="640" actId="22"/>
          <ac:spMkLst>
            <pc:docMk/>
            <pc:sldMk cId="1531613168" sldId="2145706171"/>
            <ac:spMk id="4" creationId="{2256767C-0FEA-7337-C4C6-0010A2166FFE}"/>
          </ac:spMkLst>
        </pc:spChg>
        <pc:picChg chg="del">
          <ac:chgData name="Nhi Le" userId="11d13cbe7f05dfa3" providerId="LiveId" clId="{756CDBB5-013E-4E8D-8C49-16D992B69CEF}" dt="2024-06-24T10:41:14.012" v="638" actId="478"/>
          <ac:picMkLst>
            <pc:docMk/>
            <pc:sldMk cId="1531613168" sldId="2145706171"/>
            <ac:picMk id="3" creationId="{84E4B33A-8908-A566-5EE5-4D9AD735B0CA}"/>
          </ac:picMkLst>
        </pc:picChg>
        <pc:picChg chg="add mod">
          <ac:chgData name="Nhi Le" userId="11d13cbe7f05dfa3" providerId="LiveId" clId="{756CDBB5-013E-4E8D-8C49-16D992B69CEF}" dt="2024-06-24T10:41:39.039" v="649" actId="1076"/>
          <ac:picMkLst>
            <pc:docMk/>
            <pc:sldMk cId="1531613168" sldId="2145706171"/>
            <ac:picMk id="6" creationId="{26ACD5B3-9DDF-74C5-6209-F5802446D1E4}"/>
          </ac:picMkLst>
        </pc:picChg>
      </pc:sldChg>
    </pc:docChg>
  </pc:docChgLst>
  <pc:docChgLst>
    <pc:chgData name="Nhi Le" userId="11d13cbe7f05dfa3" providerId="LiveId" clId="{A6257A50-E619-4CA0-ABE4-0897C31CF79B}"/>
    <pc:docChg chg="undo custSel modSld">
      <pc:chgData name="Nhi Le" userId="11d13cbe7f05dfa3" providerId="LiveId" clId="{A6257A50-E619-4CA0-ABE4-0897C31CF79B}" dt="2024-07-05T02:56:51.684" v="6" actId="1076"/>
      <pc:docMkLst>
        <pc:docMk/>
      </pc:docMkLst>
      <pc:sldChg chg="addSp delSp modSp mod">
        <pc:chgData name="Nhi Le" userId="11d13cbe7f05dfa3" providerId="LiveId" clId="{A6257A50-E619-4CA0-ABE4-0897C31CF79B}" dt="2024-07-05T02:56:51.684" v="6" actId="1076"/>
        <pc:sldMkLst>
          <pc:docMk/>
          <pc:sldMk cId="2554363630" sldId="2145706061"/>
        </pc:sldMkLst>
        <pc:picChg chg="del">
          <ac:chgData name="Nhi Le" userId="11d13cbe7f05dfa3" providerId="LiveId" clId="{A6257A50-E619-4CA0-ABE4-0897C31CF79B}" dt="2024-07-05T02:55:45.259" v="0" actId="478"/>
          <ac:picMkLst>
            <pc:docMk/>
            <pc:sldMk cId="2554363630" sldId="2145706061"/>
            <ac:picMk id="3" creationId="{902602BA-761E-A8D8-AAD8-3938B0CF4C14}"/>
          </ac:picMkLst>
        </pc:picChg>
        <pc:picChg chg="add mod">
          <ac:chgData name="Nhi Le" userId="11d13cbe7f05dfa3" providerId="LiveId" clId="{A6257A50-E619-4CA0-ABE4-0897C31CF79B}" dt="2024-07-05T02:56:51.684" v="6" actId="1076"/>
          <ac:picMkLst>
            <pc:docMk/>
            <pc:sldMk cId="2554363630" sldId="2145706061"/>
            <ac:picMk id="4" creationId="{0BE954E2-5425-E8F3-7AA5-A299EB83A1F5}"/>
          </ac:picMkLst>
        </pc:picChg>
      </pc:sldChg>
    </pc:docChg>
  </pc:docChgLst>
</pc:chgInfo>
</file>

<file path=ppt/comments/modernComment_7FE4E04C_373A954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42689D6-3CA4-4DD3-BD7E-15B1BC1EDEBE}" authorId="{60222A46-B838-8ED3-F9A7-3800A48EFE92}" created="2024-06-02T20:06:53.328">
    <pc:sldMkLst xmlns:pc="http://schemas.microsoft.com/office/powerpoint/2013/main/command">
      <pc:docMk/>
      <pc:sldMk cId="926586188" sldId="2145706060"/>
    </pc:sldMkLst>
    <p188:txBody>
      <a:bodyPr/>
      <a:lstStyle/>
      <a:p>
        <a:r>
          <a:rPr lang="vi-VN"/>
          <a:t>Chèn lại Use case diagram
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5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5.07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636299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731877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05660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354935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 dirty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227ED20-98F3-BDA7-C1FA-FD927D99A3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57587" y="3128963"/>
            <a:ext cx="7215187" cy="674687"/>
          </a:xfrm>
        </p:spPr>
        <p:txBody>
          <a:bodyPr/>
          <a:lstStyle>
            <a:lvl1pPr>
              <a:defRPr b="1"/>
            </a:lvl1pPr>
          </a:lstStyle>
          <a:p>
            <a:pPr lvl="0"/>
            <a:endParaRPr lang="vi-VN" dirty="0"/>
          </a:p>
        </p:txBody>
      </p:sp>
    </p:spTree>
    <p:extLst>
      <p:ext uri="{BB962C8B-B14F-4D97-AF65-F5344CB8AC3E}">
        <p14:creationId xmlns:p14="http://schemas.microsoft.com/office/powerpoint/2010/main" val="371819907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06" imgH="306" progId="TCLayout.ActiveDocument.1">
                  <p:embed/>
                </p:oleObj>
              </mc:Choice>
              <mc:Fallback>
                <p:oleObj name="think-cell Slide" r:id="rId29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710" r:id="rId2"/>
    <p:sldLayoutId id="2147483680" r:id="rId3"/>
    <p:sldLayoutId id="2147483681" r:id="rId4"/>
    <p:sldLayoutId id="2147483682" r:id="rId5"/>
    <p:sldLayoutId id="2147483706" r:id="rId6"/>
    <p:sldLayoutId id="2147483709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7" r:id="rId25"/>
    <p:sldLayoutId id="2147483708" r:id="rId26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microsoft.com/office/2018/10/relationships/comments" Target="../comments/modernComment_7FE4E04C_373A954C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723900"/>
          </a:xfrm>
        </p:spPr>
        <p:txBody>
          <a:bodyPr vert="horz"/>
          <a:lstStyle/>
          <a:p>
            <a:r>
              <a:rPr lang="en-GB" sz="1800" dirty="0"/>
              <a:t>Mentor Badge Template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DB99A6EC-889F-C17B-1BCD-307A14FB53E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639"/>
          <a:stretch/>
        </p:blipFill>
        <p:spPr>
          <a:xfrm>
            <a:off x="3216267" y="209550"/>
            <a:ext cx="6935732" cy="6782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720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647700"/>
          </a:xfrm>
        </p:spPr>
        <p:txBody>
          <a:bodyPr vert="horz"/>
          <a:lstStyle/>
          <a:p>
            <a:r>
              <a:rPr lang="en-GB" sz="1800" dirty="0"/>
              <a:t>Mentor Badge Template</a:t>
            </a: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9A35BF79-8AED-BB46-8DE8-10C42821C68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695"/>
          <a:stretch/>
        </p:blipFill>
        <p:spPr>
          <a:xfrm>
            <a:off x="3452046" y="140337"/>
            <a:ext cx="6240408" cy="6841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036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571500"/>
          </a:xfrm>
        </p:spPr>
        <p:txBody>
          <a:bodyPr vert="horz"/>
          <a:lstStyle/>
          <a:p>
            <a:r>
              <a:rPr lang="en-GB" sz="1800" dirty="0"/>
              <a:t>Mentor Certificate Template</a:t>
            </a: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83458891-465B-EA85-7C84-D8468C19F8F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306"/>
          <a:stretch/>
        </p:blipFill>
        <p:spPr>
          <a:xfrm>
            <a:off x="3246492" y="190500"/>
            <a:ext cx="7092241" cy="6734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380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6CA076C6-15A1-5FE7-741E-49B41B1B73B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972"/>
          <a:stretch/>
        </p:blipFill>
        <p:spPr>
          <a:xfrm>
            <a:off x="3360792" y="144734"/>
            <a:ext cx="6307083" cy="688471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FC9BF5-72F4-0FE1-A8EC-842B77FD4D4B}"/>
              </a:ext>
            </a:extLst>
          </p:cNvPr>
          <p:cNvSpPr txBox="1">
            <a:spLocks/>
          </p:cNvSpPr>
          <p:nvPr/>
        </p:nvSpPr>
        <p:spPr>
          <a:xfrm>
            <a:off x="431999" y="0"/>
            <a:ext cx="9720000" cy="5715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800"/>
              <a:t>Mentor Certificate Template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223942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FA7C9A4-53A3-841C-1131-AD3EA73FF2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2361" y="1577921"/>
            <a:ext cx="11541489" cy="4375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663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4E4B33A-8908-A566-5EE5-4D9AD735B0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38499" y="74537"/>
            <a:ext cx="6686552" cy="696051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542925"/>
          </a:xfrm>
        </p:spPr>
        <p:txBody>
          <a:bodyPr vert="horz"/>
          <a:lstStyle/>
          <a:p>
            <a:r>
              <a:rPr lang="en-GB" sz="1800" dirty="0"/>
              <a:t>Mentor Existing Template</a:t>
            </a:r>
          </a:p>
        </p:txBody>
      </p:sp>
    </p:spTree>
    <p:extLst>
      <p:ext uri="{BB962C8B-B14F-4D97-AF65-F5344CB8AC3E}">
        <p14:creationId xmlns:p14="http://schemas.microsoft.com/office/powerpoint/2010/main" val="967897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542925"/>
          </a:xfrm>
        </p:spPr>
        <p:txBody>
          <a:bodyPr vert="horz"/>
          <a:lstStyle/>
          <a:p>
            <a:r>
              <a:rPr lang="en-GB" sz="1800" dirty="0"/>
              <a:t>Mentor Existing Template</a:t>
            </a:r>
          </a:p>
        </p:txBody>
      </p:sp>
      <p:pic>
        <p:nvPicPr>
          <p:cNvPr id="6" name="Picture 5" descr="A diagram of a source code&#10;&#10;Description automatically generated">
            <a:extLst>
              <a:ext uri="{FF2B5EF4-FFF2-40B4-BE49-F238E27FC236}">
                <a16:creationId xmlns:a16="http://schemas.microsoft.com/office/drawing/2014/main" id="{26ACD5B3-9DDF-74C5-6209-F5802446D1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75" y="985837"/>
            <a:ext cx="11906250" cy="4486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613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664B4C9-452B-B6A9-F92B-B86A1952A8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68247" y="47625"/>
            <a:ext cx="7730909" cy="850936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365760"/>
          </a:xfrm>
        </p:spPr>
        <p:txBody>
          <a:bodyPr vert="horz"/>
          <a:lstStyle/>
          <a:p>
            <a:r>
              <a:rPr lang="en-GB" sz="1800" dirty="0"/>
              <a:t>Mentor Credential Issued</a:t>
            </a:r>
          </a:p>
        </p:txBody>
      </p:sp>
    </p:spTree>
    <p:extLst>
      <p:ext uri="{BB962C8B-B14F-4D97-AF65-F5344CB8AC3E}">
        <p14:creationId xmlns:p14="http://schemas.microsoft.com/office/powerpoint/2010/main" val="521254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622570"/>
          </a:xfrm>
        </p:spPr>
        <p:txBody>
          <a:bodyPr vert="horz"/>
          <a:lstStyle/>
          <a:p>
            <a:r>
              <a:rPr lang="en-GB" dirty="0"/>
              <a:t>Mentor Integratio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DDEA7FF-44CC-9727-6E6B-20D0563CA4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20944" y="514964"/>
            <a:ext cx="9256606" cy="6190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405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1549" y="1098001"/>
            <a:ext cx="4877508" cy="2945190"/>
          </a:xfrm>
        </p:spPr>
        <p:txBody>
          <a:bodyPr/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Mentee Profile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Mentee Verification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entor Email Templates</a:t>
            </a:r>
          </a:p>
          <a:p>
            <a:r>
              <a:rPr lang="en-US" kern="1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Mentor Integration</a:t>
            </a:r>
          </a:p>
          <a:p>
            <a:endParaRPr lang="en-US" kern="100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endParaRPr lang="en-US" kern="1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Mentee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582835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Nhi Le |  13</a:t>
            </a:r>
            <a:r>
              <a:rPr lang="en-US" dirty="0"/>
              <a:t>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999" y="4905374"/>
            <a:ext cx="11331375" cy="818115"/>
          </a:xfrm>
        </p:spPr>
        <p:txBody>
          <a:bodyPr/>
          <a:lstStyle/>
          <a:p>
            <a:r>
              <a:rPr lang="en-US" dirty="0"/>
              <a:t>Certification Management Subsystem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F4512DA-0C05-2645-9D64-6C05FB07F3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17865" y="0"/>
            <a:ext cx="8201316" cy="1335561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358219"/>
          </a:xfrm>
        </p:spPr>
        <p:txBody>
          <a:bodyPr vert="horz"/>
          <a:lstStyle/>
          <a:p>
            <a:r>
              <a:rPr lang="en-GB" sz="1800" dirty="0"/>
              <a:t>Mentee Profile</a:t>
            </a:r>
          </a:p>
        </p:txBody>
      </p:sp>
    </p:spTree>
    <p:extLst>
      <p:ext uri="{BB962C8B-B14F-4D97-AF65-F5344CB8AC3E}">
        <p14:creationId xmlns:p14="http://schemas.microsoft.com/office/powerpoint/2010/main" val="294795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521110"/>
          </a:xfrm>
        </p:spPr>
        <p:txBody>
          <a:bodyPr vert="horz"/>
          <a:lstStyle/>
          <a:p>
            <a:r>
              <a:rPr lang="en-GB" sz="1800" dirty="0"/>
              <a:t>Mentee Profi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17618A-0ED4-E0BC-AE48-927A2AB8A1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15056" y="-2205587"/>
            <a:ext cx="5961886" cy="9708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506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521110"/>
          </a:xfrm>
        </p:spPr>
        <p:txBody>
          <a:bodyPr vert="horz"/>
          <a:lstStyle/>
          <a:p>
            <a:r>
              <a:rPr lang="en-GB" sz="1800" dirty="0"/>
              <a:t>Mentee Profi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17618A-0ED4-E0BC-AE48-927A2AB8A1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15056" y="-2205587"/>
            <a:ext cx="5961886" cy="9708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398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521110"/>
          </a:xfrm>
        </p:spPr>
        <p:txBody>
          <a:bodyPr vert="horz"/>
          <a:lstStyle/>
          <a:p>
            <a:r>
              <a:rPr lang="en-GB" sz="1800" dirty="0"/>
              <a:t>Mentee Verific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BB32583-E2FA-4DD1-6489-A4D8262528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79077" y="147484"/>
            <a:ext cx="7033845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8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521110"/>
          </a:xfrm>
        </p:spPr>
        <p:txBody>
          <a:bodyPr vert="horz"/>
          <a:lstStyle/>
          <a:p>
            <a:r>
              <a:rPr lang="en-GB" sz="1800" dirty="0"/>
              <a:t>Mentee Verific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BB32583-E2FA-4DD1-6489-A4D8262528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47375" y="502060"/>
            <a:ext cx="8322748" cy="811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64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700088"/>
          </a:xfrm>
        </p:spPr>
        <p:txBody>
          <a:bodyPr vert="horz"/>
          <a:lstStyle/>
          <a:p>
            <a:r>
              <a:rPr lang="en-GB" dirty="0"/>
              <a:t>Referenc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6A97FF-DA42-FF69-931A-A7B019EC8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35290" y="562022"/>
            <a:ext cx="9000965" cy="629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99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Referenc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6A97FF-DA42-FF69-931A-A7B019EC8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598" y="928686"/>
            <a:ext cx="10886803" cy="5457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946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Referenc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6A97FF-DA42-FF69-931A-A7B019EC8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4644" y="871538"/>
            <a:ext cx="11085357" cy="5510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551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6DFE647-B4F5-DA79-593C-3D4053FE1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3128963"/>
            <a:ext cx="12191999" cy="674687"/>
          </a:xfrm>
        </p:spPr>
        <p:txBody>
          <a:bodyPr/>
          <a:lstStyle/>
          <a:p>
            <a:pPr marL="0" indent="0" algn="ctr">
              <a:buNone/>
            </a:pPr>
            <a:r>
              <a:rPr lang="en-US" sz="7200" dirty="0">
                <a:solidFill>
                  <a:schemeClr val="bg1"/>
                </a:solidFill>
              </a:rPr>
              <a:t>THANK YOU</a:t>
            </a:r>
            <a:endParaRPr lang="vi-VN" sz="7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443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6DFE647-B4F5-DA79-593C-3D4053FE1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3128963"/>
            <a:ext cx="12191999" cy="674687"/>
          </a:xfrm>
        </p:spPr>
        <p:txBody>
          <a:bodyPr/>
          <a:lstStyle/>
          <a:p>
            <a:pPr marL="0" indent="0" algn="ctr">
              <a:buNone/>
            </a:pPr>
            <a:r>
              <a:rPr lang="en-US" sz="7200" dirty="0">
                <a:solidFill>
                  <a:schemeClr val="bg1"/>
                </a:solidFill>
              </a:rPr>
              <a:t>Q&amp;A</a:t>
            </a:r>
            <a:endParaRPr lang="vi-VN" sz="7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4915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1549" y="1098001"/>
            <a:ext cx="4877508" cy="2945190"/>
          </a:xfrm>
        </p:spPr>
        <p:txBody>
          <a:bodyPr/>
          <a:lstStyle/>
          <a:p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Mindmaps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Use case diagram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UI Designs</a:t>
            </a:r>
          </a:p>
          <a:p>
            <a:r>
              <a:rPr lang="en-US" kern="1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atabase Designs</a:t>
            </a:r>
          </a:p>
          <a:p>
            <a:r>
              <a:rPr lang="en-US" kern="1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References</a:t>
            </a:r>
          </a:p>
          <a:p>
            <a:r>
              <a:rPr lang="en-US" kern="1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Q&amp;A</a:t>
            </a:r>
          </a:p>
          <a:p>
            <a:endParaRPr lang="en-US" kern="1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Agenda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276609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685800"/>
          </a:xfrm>
        </p:spPr>
        <p:txBody>
          <a:bodyPr vert="horz"/>
          <a:lstStyle/>
          <a:p>
            <a:r>
              <a:rPr lang="en-GB" dirty="0" err="1"/>
              <a:t>MentorHub</a:t>
            </a:r>
            <a:r>
              <a:rPr lang="en-GB" dirty="0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22AB8F-5BF4-1377-45BF-1AD60C49B7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94697" y="1159828"/>
            <a:ext cx="12951950" cy="518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24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Certificate Management Subsyste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E954E2-5425-E8F3-7AA5-A299EB83A1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56933"/>
            <a:ext cx="13347351" cy="494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363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D3C1804-D84C-0563-5C16-782A0A229F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1283" y="438192"/>
            <a:ext cx="8759507" cy="641980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-1"/>
            <a:ext cx="9720000" cy="870333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926586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1549" y="1098001"/>
            <a:ext cx="4877508" cy="2945190"/>
          </a:xfrm>
        </p:spPr>
        <p:txBody>
          <a:bodyPr/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Mentor Home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Mentor Dashboard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entor Email Templates</a:t>
            </a:r>
          </a:p>
          <a:p>
            <a:r>
              <a:rPr lang="en-US" kern="1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Mentor Integration</a:t>
            </a:r>
          </a:p>
          <a:p>
            <a:endParaRPr lang="en-US" kern="100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endParaRPr lang="en-US" kern="1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Mentor 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853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622570"/>
          </a:xfrm>
        </p:spPr>
        <p:txBody>
          <a:bodyPr vert="horz"/>
          <a:lstStyle/>
          <a:p>
            <a:r>
              <a:rPr lang="en-GB" dirty="0"/>
              <a:t>Mentor Dashboar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9664919-BB93-AF4D-DAD6-F52ADB0642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30190" y="470170"/>
            <a:ext cx="7949737" cy="10930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458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622570"/>
          </a:xfrm>
        </p:spPr>
        <p:txBody>
          <a:bodyPr vert="horz"/>
          <a:lstStyle/>
          <a:p>
            <a:r>
              <a:rPr lang="en-GB" dirty="0"/>
              <a:t>Mentor Dashboard</a:t>
            </a:r>
          </a:p>
        </p:txBody>
      </p:sp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27125EE0-EB46-1FBC-2684-53567E261B2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96"/>
          <a:stretch/>
        </p:blipFill>
        <p:spPr>
          <a:xfrm>
            <a:off x="2332181" y="510810"/>
            <a:ext cx="8141035" cy="6235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20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B0F42E2-0E6A-4852-8EA1-9F7D6F366003}">
  <ds:schemaRefs>
    <ds:schemaRef ds:uri="http://purl.org/dc/elements/1.1/"/>
    <ds:schemaRef ds:uri="http://schemas.microsoft.com/office/infopath/2007/PartnerControls"/>
    <ds:schemaRef ds:uri="http://purl.org/dc/dcmitype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5a0a5fd8-e554-4dec-ae9e-1a78583e7e41"/>
    <ds:schemaRef ds:uri="680405e6-b67e-4188-afe9-1f6c4cc802d0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9078</TotalTime>
  <Words>101</Words>
  <Application>Microsoft Office PowerPoint</Application>
  <PresentationFormat>Widescreen</PresentationFormat>
  <Paragraphs>54</Paragraphs>
  <Slides>3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6" baseType="lpstr">
      <vt:lpstr>Aptos</vt:lpstr>
      <vt:lpstr>Aptos Display</vt:lpstr>
      <vt:lpstr>Arial</vt:lpstr>
      <vt:lpstr>Calibri</vt:lpstr>
      <vt:lpstr>bbv template EN</vt:lpstr>
      <vt:lpstr>think-cell Slide</vt:lpstr>
      <vt:lpstr>PowerPoint Presentation</vt:lpstr>
      <vt:lpstr>Certification Management Subsystem</vt:lpstr>
      <vt:lpstr>Agenda</vt:lpstr>
      <vt:lpstr>MentorHub </vt:lpstr>
      <vt:lpstr>Certificate Management Subsystem</vt:lpstr>
      <vt:lpstr>Use case diagram</vt:lpstr>
      <vt:lpstr>Mentor </vt:lpstr>
      <vt:lpstr>Mentor Dashboard</vt:lpstr>
      <vt:lpstr>Mentor Dashboard</vt:lpstr>
      <vt:lpstr>Mentor Badge Template</vt:lpstr>
      <vt:lpstr>Mentor Badge Template</vt:lpstr>
      <vt:lpstr>Mentor Certificate Template</vt:lpstr>
      <vt:lpstr>PowerPoint Presentation</vt:lpstr>
      <vt:lpstr>Database Design</vt:lpstr>
      <vt:lpstr>Mentor Existing Template</vt:lpstr>
      <vt:lpstr>Mentor Existing Template</vt:lpstr>
      <vt:lpstr>Mentor Credential Issued</vt:lpstr>
      <vt:lpstr>Mentor Integrations</vt:lpstr>
      <vt:lpstr>Mentee</vt:lpstr>
      <vt:lpstr>Mentee Profile</vt:lpstr>
      <vt:lpstr>Mentee Profile</vt:lpstr>
      <vt:lpstr>Mentee Profile</vt:lpstr>
      <vt:lpstr>Mentee Verification</vt:lpstr>
      <vt:lpstr>Mentee Verification</vt:lpstr>
      <vt:lpstr>References</vt:lpstr>
      <vt:lpstr>References</vt:lpstr>
      <vt:lpstr>References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subject>03/06/2024</dc:subject>
  <dc:creator>Nhi</dc:creator>
  <cp:lastModifiedBy>Nhi Le</cp:lastModifiedBy>
  <cp:revision>40</cp:revision>
  <dcterms:created xsi:type="dcterms:W3CDTF">2023-03-02T06:20:39Z</dcterms:created>
  <dcterms:modified xsi:type="dcterms:W3CDTF">2024-07-05T02:56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